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144000" cy="5143500" type="screen16x9"/>
  <p:notesSz cx="6858000" cy="9144000"/>
  <p:custDataLst>
    <p:tags r:id="rId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8C8527-F869-4FCB-B264-0EFD783F8377}" v="32" dt="2022-12-17T20:03:10.436"/>
    <p1510:client id="{C10EFF80-CCCF-449B-9543-AF895DF76AC3}" v="29" dt="2022-12-17T20:06:33.2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1c009fef59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g1c009fef59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96DE24E-2B9B-67D6-B1E3-0A19614A4F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890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415" imgH="416" progId="TCLayout.ActiveDocument.1">
                  <p:embed/>
                </p:oleObj>
              </mc:Choice>
              <mc:Fallback>
                <p:oleObj name="Diapositiva de think-cell" r:id="rId13" imgW="415" imgH="41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96DE24E-2B9B-67D6-B1E3-0A19614A4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053F8C3-E851-9B89-1CCA-76F86B18C5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4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053F8C3-E851-9B89-1CCA-76F86B18C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3"/>
          <p:cNvSpPr/>
          <p:nvPr/>
        </p:nvSpPr>
        <p:spPr>
          <a:xfrm>
            <a:off x="0" y="3228038"/>
            <a:ext cx="4018200" cy="19155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13"/>
          <p:cNvSpPr txBox="1"/>
          <p:nvPr/>
        </p:nvSpPr>
        <p:spPr>
          <a:xfrm>
            <a:off x="4832875" y="1693600"/>
            <a:ext cx="3737100" cy="45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CL" sz="25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QL – Tabla Airbnb</a:t>
            </a:r>
            <a:endParaRPr sz="25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56;p13"/>
          <p:cNvSpPr txBox="1"/>
          <p:nvPr/>
        </p:nvSpPr>
        <p:spPr>
          <a:xfrm>
            <a:off x="4832873" y="3228038"/>
            <a:ext cx="2668200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</a:endParaRPr>
          </a:p>
          <a:p>
            <a:pPr marL="342900" lvl="0" indent="-254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-"/>
            </a:pPr>
            <a:r>
              <a:rPr lang="es-CL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rea Yáñez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15900" marR="0" lvl="0" indent="-127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7" name="Google Shape;57;p1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00039" y="285938"/>
            <a:ext cx="3217901" cy="1067401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13"/>
          <p:cNvSpPr txBox="1">
            <a:spLocks noGrp="1"/>
          </p:cNvSpPr>
          <p:nvPr>
            <p:ph type="ctrTitle"/>
          </p:nvPr>
        </p:nvSpPr>
        <p:spPr>
          <a:xfrm>
            <a:off x="109251" y="1749490"/>
            <a:ext cx="3799500" cy="92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30A0"/>
              </a:buClr>
              <a:buSzPts val="2100"/>
              <a:buFont typeface="Arial Rounded"/>
              <a:buNone/>
            </a:pPr>
            <a:r>
              <a:rPr lang="es" sz="2100" b="1" dirty="0">
                <a:solidFill>
                  <a:srgbClr val="7030A0"/>
                </a:solidFill>
                <a:latin typeface="Arial Rounded"/>
                <a:ea typeface="Arial Rounded"/>
                <a:cs typeface="Arial Rounded"/>
                <a:sym typeface="Arial Rounded"/>
              </a:rPr>
              <a:t>Datos Masivos y Minería de Datos</a:t>
            </a:r>
            <a:endParaRPr sz="2100" b="1" dirty="0">
              <a:solidFill>
                <a:srgbClr val="7F7F7F"/>
              </a:solidFill>
              <a:latin typeface="Arial Rounded"/>
              <a:ea typeface="Arial Rounded"/>
              <a:cs typeface="Arial Rounded"/>
              <a:sym typeface="Arial Rounded"/>
            </a:endParaRPr>
          </a:p>
        </p:txBody>
      </p:sp>
      <p:sp>
        <p:nvSpPr>
          <p:cNvPr id="59" name="Google Shape;59;p13"/>
          <p:cNvSpPr txBox="1"/>
          <p:nvPr/>
        </p:nvSpPr>
        <p:spPr>
          <a:xfrm>
            <a:off x="708123" y="2725613"/>
            <a:ext cx="2668200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rgbClr val="00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4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rofesor: David Díaz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13"/>
          <p:cNvSpPr txBox="1"/>
          <p:nvPr/>
        </p:nvSpPr>
        <p:spPr>
          <a:xfrm>
            <a:off x="4064873" y="4636248"/>
            <a:ext cx="4784400" cy="2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1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ECHA: </a:t>
            </a:r>
            <a:r>
              <a:rPr lang="es" sz="1400">
                <a:latin typeface="Calibri"/>
                <a:ea typeface="Calibri"/>
                <a:cs typeface="Calibri"/>
                <a:sym typeface="Calibri"/>
              </a:rPr>
              <a:t>1</a:t>
            </a:r>
            <a:r>
              <a:rPr lang="es">
                <a:latin typeface="Calibri"/>
                <a:ea typeface="Calibri"/>
                <a:cs typeface="Calibri"/>
                <a:sym typeface="Calibri"/>
              </a:rPr>
              <a:t>7</a:t>
            </a:r>
            <a:r>
              <a:rPr lang="es" sz="1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-12-2022</a:t>
            </a:r>
            <a:endParaRPr sz="11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C7C6267-FB44-47D6-18E0-20065E1E85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72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81A6500E-79E9-0B95-D87F-447C4F1A59E5}"/>
              </a:ext>
            </a:extLst>
          </p:cNvPr>
          <p:cNvSpPr txBox="1"/>
          <p:nvPr/>
        </p:nvSpPr>
        <p:spPr>
          <a:xfrm>
            <a:off x="787613" y="685086"/>
            <a:ext cx="8110498" cy="543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s-CL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Obtener el promedio mínimo y máximo de noches arrendadas en publicaciones con 1 cama disponible agrupados por comun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A7EC3D2-3A33-D628-3BE8-502B7836A3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5935" y="1504797"/>
            <a:ext cx="5612130" cy="324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638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125A09F2-2982-65AC-9054-6B13578AB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46A24ABD-24CF-AB0C-65A6-8719EDFCA977}"/>
              </a:ext>
            </a:extLst>
          </p:cNvPr>
          <p:cNvSpPr txBox="1"/>
          <p:nvPr/>
        </p:nvSpPr>
        <p:spPr>
          <a:xfrm>
            <a:off x="576302" y="614724"/>
            <a:ext cx="7814662" cy="543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s-CL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Obtener la información de las publicaciones con mayor score (mayor o igual a 4,75) y que tengan más de dos camas, ordenado por precio de menor a mayo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151D90F-6434-CFC7-DAA0-9820781102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2254" y="1445801"/>
            <a:ext cx="5612130" cy="322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55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9DEBC67-AE42-376B-6248-582B7B8CD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771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15" imgH="416" progId="TCLayout.ActiveDocument.1">
                  <p:embed/>
                </p:oleObj>
              </mc:Choice>
              <mc:Fallback>
                <p:oleObj name="Diapositiva de think-cell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E4F4AF7B-8399-20E8-807D-E624D2672318}"/>
              </a:ext>
            </a:extLst>
          </p:cNvPr>
          <p:cNvSpPr txBox="1"/>
          <p:nvPr/>
        </p:nvSpPr>
        <p:spPr>
          <a:xfrm>
            <a:off x="660827" y="716853"/>
            <a:ext cx="7211466" cy="543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s-CL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 Obtener la tasa de respuesta del hospedador y el link de las publicaciones con valor entre 5.000 y 7.000 ordenado por la tasa de respuest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5D4652F-FDA9-D70D-30F8-07EEFC5C7D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9938" y="1575410"/>
            <a:ext cx="5612130" cy="312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029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9</Words>
  <Application>Microsoft Office PowerPoint</Application>
  <PresentationFormat>Presentación en pantalla (16:9)</PresentationFormat>
  <Paragraphs>10</Paragraphs>
  <Slides>4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9" baseType="lpstr">
      <vt:lpstr>Arial</vt:lpstr>
      <vt:lpstr>Arial Rounded</vt:lpstr>
      <vt:lpstr>Calibri</vt:lpstr>
      <vt:lpstr>Simple Light</vt:lpstr>
      <vt:lpstr>Diapositiva de think-cell</vt:lpstr>
      <vt:lpstr>Datos Masivos y Minería de Datos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tión de Talento y Comunicación Efectiva</dc:title>
  <dc:creator>Yáñez Gallegos Andrea Verónica (Codelco-Casa Matriz)</dc:creator>
  <cp:lastModifiedBy>Yáñez Gallegos Andrea Verónica (Codelco-Casa Matriz)</cp:lastModifiedBy>
  <cp:revision>1</cp:revision>
  <dcterms:modified xsi:type="dcterms:W3CDTF">2022-12-17T20:07:12Z</dcterms:modified>
</cp:coreProperties>
</file>